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8:46.043" v="16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8:46.043" v="16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A4CFA2F4-FF8D-446B-B271-6DF568DBEADA}" dt="2026-02-12T08:07:39.482" v="7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Ricavo da traffico</c:v>
                </c:pt>
                <c:pt idx="1">
                  <c:v>6% – Ricavi locativi immobili</c:v>
                </c:pt>
                <c:pt idx="2">
                  <c:v>12% – Ricavi complementari</c:v>
                </c:pt>
                <c:pt idx="3">
                  <c:v>12% – Prestazioni proprie</c:v>
                </c:pt>
                <c:pt idx="4">
                  <c:v>27% – Prestazioni dei poteri pubblic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956.8073747020399</c:v>
                </c:pt>
                <c:pt idx="1">
                  <c:v>742.96468028659501</c:v>
                </c:pt>
                <c:pt idx="2">
                  <c:v>1402.5437542682</c:v>
                </c:pt>
                <c:pt idx="3">
                  <c:v>1458.0204300400001</c:v>
                </c:pt>
                <c:pt idx="4">
                  <c:v>3122.0523444062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4230900006670433"/>
          <c:h val="0.18485776396404879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0% – Costi del personale</c:v>
                </c:pt>
                <c:pt idx="1">
                  <c:v>9% – Costi del materiale</c:v>
                </c:pt>
                <c:pt idx="2">
                  <c:v>11% – Prestazioni d’esercizio e manutenzione di terzi</c:v>
                </c:pt>
                <c:pt idx="3">
                  <c:v>16% – Altro</c:v>
                </c:pt>
                <c:pt idx="4">
                  <c:v>24% – Ammortament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466.9355092994001</c:v>
                </c:pt>
                <c:pt idx="1">
                  <c:v>-966.60982048359699</c:v>
                </c:pt>
                <c:pt idx="2">
                  <c:v>-1185.9344655597599</c:v>
                </c:pt>
                <c:pt idx="3">
                  <c:v>-1755.8557607334999</c:v>
                </c:pt>
                <c:pt idx="4">
                  <c:v>-2693.68601883699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2482095255431286E-2"/>
          <c:y val="0.78130886993356086"/>
          <c:w val="0.83916952161053382"/>
          <c:h val="0.18497931072011867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7576452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859188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Ricavo e costi d’esercizio </a:t>
            </a:r>
            <a:r>
              <a:rPr lang="it-IT"/>
              <a:t>nel 2025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16079" y="6184283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1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43344F4-A034-7D33-F058-5575A1C63D0F}"/>
              </a:ext>
            </a:extLst>
          </p:cNvPr>
          <p:cNvSpPr txBox="1"/>
          <p:nvPr/>
        </p:nvSpPr>
        <p:spPr>
          <a:xfrm>
            <a:off x="1955800" y="152114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400" b="0" i="0" u="none" strike="noStrike" kern="1200" cap="none" spc="0" normalizeH="0" baseline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Ricavo d’esercizio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8E71A2-2A32-3F65-6256-CD1746269271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/>
              <a:t>Costi d’esercizio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F952AEC0-806D-4240-84CD-24E34204D6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